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3"/>
  </p:notesMasterIdLst>
  <p:handoutMasterIdLst>
    <p:handoutMasterId r:id="rId4"/>
  </p:handoutMasterIdLst>
  <p:sldIdLst>
    <p:sldId id="33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150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3/08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3/08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47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August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7168DF32-6311-4C74-8A9C-589CD09FEAAD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52489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6" name="Objek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fficiency: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50% less production downtime with only one operator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st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timisation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Less downtime means </a:t>
                      </a:r>
                      <a:b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tter TCO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fety: Semi-automated system with fewer </a:t>
                      </a:r>
                      <a:b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nual operation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implicity and ergonomics: Tool-free operations and easy access to part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del's patented Bottle Switch™ improves blow-</a:t>
                      </a:r>
                      <a:r>
                        <a:rPr lang="en-US" sz="1200" b="0" i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ulder</a:t>
                      </a:r>
                      <a:r>
                        <a:rPr lang="en-US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lexibility by reducing the </a:t>
                      </a:r>
                      <a:r>
                        <a:rPr lang="en-US" sz="1200" b="0" i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uld</a:t>
                      </a:r>
                      <a:r>
                        <a:rPr lang="en-US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hangeover time to less than a minute, cutting downtime in half. This semi-automatic solution is easy for operators and requires no tools.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Bottle Switch™  is declined in 5 packs to match to customer needs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Pack 2 contains a set of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uld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body changeover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ificant decrease in changeover times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03001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/>
              <a:t>Bottle Switch™  Series 2 – Pack 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: Flexibi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: Series 2 blowers (MM GM Series 2 (cylindrical GUPM, SBO non HR)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968P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79" t="6013" r="10979" b="6013"/>
          <a:stretch/>
        </p:blipFill>
        <p:spPr bwMode="auto">
          <a:xfrm>
            <a:off x="5860330" y="4246719"/>
            <a:ext cx="1703815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432F7CC1-062F-4488-87A4-1103F4AA06AC}"/>
              </a:ext>
            </a:extLst>
          </p:cNvPr>
          <p:cNvSpPr/>
          <p:nvPr/>
        </p:nvSpPr>
        <p:spPr>
          <a:xfrm>
            <a:off x="4759900" y="1743075"/>
            <a:ext cx="38893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577968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0_FINAL</Template>
  <TotalTime>0</TotalTime>
  <Words>122</Words>
  <Application>Microsoft Office PowerPoint</Application>
  <PresentationFormat>Affichage à l'écran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Significant decrease in changeover time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your equipment efficiency by implementing the autonomous maintenance principles</dc:title>
  <dc:creator>Sorega, Dan</dc:creator>
  <cp:lastModifiedBy>Sorega, Dan</cp:lastModifiedBy>
  <cp:revision>18</cp:revision>
  <dcterms:created xsi:type="dcterms:W3CDTF">2017-06-28T07:21:44Z</dcterms:created>
  <dcterms:modified xsi:type="dcterms:W3CDTF">2019-08-13T13:4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08-13T13:44:53.8950176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4-10T13:45:49.9530240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4-10T13:45:49.9530240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